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294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8C2E0"/>
    <a:srgbClr val="97D0B1"/>
    <a:srgbClr val="406352"/>
    <a:srgbClr val="CBCAEA"/>
    <a:srgbClr val="D7B9E1"/>
    <a:srgbClr val="292866"/>
    <a:srgbClr val="D5ECE0"/>
    <a:srgbClr val="F2F2F2"/>
    <a:srgbClr val="2B4871"/>
    <a:srgbClr val="05BA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35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12" y="84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numRef>
              <c:f>Sheet1!$A$2:$A$5</c:f>
              <c:numCache>
                <c:formatCode>General</c:formatCode>
                <c:ptCount val="4"/>
                <c:pt idx="0">
                  <c:v>2001</c:v>
                </c:pt>
                <c:pt idx="1">
                  <c:v>2002</c:v>
                </c:pt>
                <c:pt idx="2">
                  <c:v>2002</c:v>
                </c:pt>
                <c:pt idx="3">
                  <c:v>2003</c:v>
                </c:pt>
              </c:numCache>
            </c:numRef>
          </c:cat>
          <c:val>
            <c:numRef>
              <c:f>Sheet1!$B$2:$B$5</c:f>
              <c:numCache>
                <c:formatCode>General</c:formatCode>
                <c:ptCount val="4"/>
                <c:pt idx="0">
                  <c:v>1.3</c:v>
                </c:pt>
                <c:pt idx="1">
                  <c:v>1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877-4A36-BB14-4AE7D7011A9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numRef>
              <c:f>Sheet1!$A$2:$A$5</c:f>
              <c:numCache>
                <c:formatCode>General</c:formatCode>
                <c:ptCount val="4"/>
                <c:pt idx="0">
                  <c:v>2001</c:v>
                </c:pt>
                <c:pt idx="1">
                  <c:v>2002</c:v>
                </c:pt>
                <c:pt idx="2">
                  <c:v>2002</c:v>
                </c:pt>
                <c:pt idx="3">
                  <c:v>2003</c:v>
                </c:pt>
              </c:numCache>
            </c:numRef>
          </c:cat>
          <c:val>
            <c:numRef>
              <c:f>Sheet1!$C$2:$C$5</c:f>
              <c:numCache>
                <c:formatCode>General</c:formatCode>
                <c:ptCount val="4"/>
                <c:pt idx="0">
                  <c:v>1.4</c:v>
                </c:pt>
                <c:pt idx="1">
                  <c:v>3.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877-4A36-BB14-4AE7D7011A9B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Sheet1!$A$2:$A$5</c:f>
              <c:numCache>
                <c:formatCode>General</c:formatCode>
                <c:ptCount val="4"/>
                <c:pt idx="0">
                  <c:v>2001</c:v>
                </c:pt>
                <c:pt idx="1">
                  <c:v>2002</c:v>
                </c:pt>
                <c:pt idx="2">
                  <c:v>2002</c:v>
                </c:pt>
                <c:pt idx="3">
                  <c:v>2003</c:v>
                </c:pt>
              </c:numCache>
            </c:num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877-4A36-BB14-4AE7D7011A9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464119464"/>
        <c:axId val="458395848"/>
      </c:barChart>
      <c:catAx>
        <c:axId val="4641194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58395848"/>
        <c:crosses val="autoZero"/>
        <c:auto val="1"/>
        <c:lblAlgn val="ctr"/>
        <c:lblOffset val="100"/>
        <c:noMultiLvlLbl val="0"/>
      </c:catAx>
      <c:valAx>
        <c:axId val="45839584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641194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5D7575C-B496-5E9E-184F-798D6AB25EFD}"/>
              </a:ext>
            </a:extLst>
          </p:cNvPr>
          <p:cNvSpPr/>
          <p:nvPr userDrawn="1"/>
        </p:nvSpPr>
        <p:spPr bwMode="auto">
          <a:xfrm>
            <a:off x="0" y="866515"/>
            <a:ext cx="12196619" cy="45719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FBBBD95-D765-E756-7A0B-F06A9E93F730}"/>
              </a:ext>
            </a:extLst>
          </p:cNvPr>
          <p:cNvSpPr/>
          <p:nvPr userDrawn="1"/>
        </p:nvSpPr>
        <p:spPr bwMode="auto">
          <a:xfrm>
            <a:off x="-4620" y="1"/>
            <a:ext cx="12196619" cy="883919"/>
          </a:xfrm>
          <a:prstGeom prst="rect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</a:schemeClr>
              </a:gs>
            </a:gsLst>
            <a:lin ang="2700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63539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7472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97C8A63-3D04-EA10-B733-AE72D467BD3F}"/>
              </a:ext>
            </a:extLst>
          </p:cNvPr>
          <p:cNvCxnSpPr>
            <a:cxnSpLocks/>
          </p:cNvCxnSpPr>
          <p:nvPr userDrawn="1"/>
        </p:nvCxnSpPr>
        <p:spPr>
          <a:xfrm>
            <a:off x="-2309" y="6629400"/>
            <a:ext cx="12196619" cy="0"/>
          </a:xfrm>
          <a:prstGeom prst="line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CD61A8A-7748-1941-1B77-9638BD30A2A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AD42806-0C24-64F0-B8FD-66C00CCFF0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>
                <a:latin typeface="+mn-lt"/>
              </a:rPr>
              <a:pPr/>
              <a:t>1</a:t>
            </a:fld>
            <a:endParaRPr lang="en-US" dirty="0">
              <a:latin typeface="+mn-lt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8119D51-A1B4-47B8-694E-DFA4732873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acked Column</a:t>
            </a:r>
          </a:p>
        </p:txBody>
      </p:sp>
      <p:graphicFrame>
        <p:nvGraphicFramePr>
          <p:cNvPr id="40" name="Chart 39">
            <a:extLst>
              <a:ext uri="{FF2B5EF4-FFF2-40B4-BE49-F238E27FC236}">
                <a16:creationId xmlns:a16="http://schemas.microsoft.com/office/drawing/2014/main" id="{129E9085-784F-F8A0-FE41-B92297A9F99A}"/>
              </a:ext>
            </a:extLst>
          </p:cNvPr>
          <p:cNvGraphicFramePr/>
          <p:nvPr/>
        </p:nvGraphicFramePr>
        <p:xfrm>
          <a:off x="5220181" y="1770928"/>
          <a:ext cx="6041985" cy="45384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6" name="TextBox 45">
            <a:extLst>
              <a:ext uri="{FF2B5EF4-FFF2-40B4-BE49-F238E27FC236}">
                <a16:creationId xmlns:a16="http://schemas.microsoft.com/office/drawing/2014/main" id="{56A42973-9A73-9620-4035-E18D5A93C31E}"/>
              </a:ext>
            </a:extLst>
          </p:cNvPr>
          <p:cNvSpPr txBox="1"/>
          <p:nvPr/>
        </p:nvSpPr>
        <p:spPr>
          <a:xfrm>
            <a:off x="2419656" y="2017794"/>
            <a:ext cx="2497447" cy="11546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600" dirty="0"/>
              <a:t>Insert text insert text</a:t>
            </a:r>
          </a:p>
          <a:p>
            <a:pPr>
              <a:lnSpc>
                <a:spcPct val="150000"/>
              </a:lnSpc>
            </a:pPr>
            <a:r>
              <a:rPr lang="en-US" sz="1600" dirty="0"/>
              <a:t>Insert text insert text</a:t>
            </a:r>
            <a:br>
              <a:rPr lang="en-US" sz="1600" dirty="0"/>
            </a:br>
            <a:endParaRPr lang="en-US" sz="1600" dirty="0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7A03EC9F-8732-8055-C77F-DC95FDFCC36D}"/>
              </a:ext>
            </a:extLst>
          </p:cNvPr>
          <p:cNvSpPr txBox="1"/>
          <p:nvPr/>
        </p:nvSpPr>
        <p:spPr>
          <a:xfrm>
            <a:off x="2419656" y="1697037"/>
            <a:ext cx="208684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/>
              <a:t>Title</a:t>
            </a:r>
            <a:endParaRPr lang="en-ID" sz="1600" b="1" dirty="0"/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C9756EA2-823A-DDF6-7045-B9756A04FD22}"/>
              </a:ext>
            </a:extLst>
          </p:cNvPr>
          <p:cNvSpPr txBox="1"/>
          <p:nvPr/>
        </p:nvSpPr>
        <p:spPr>
          <a:xfrm>
            <a:off x="1218975" y="1697037"/>
            <a:ext cx="12466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accent4"/>
                </a:solidFill>
              </a:rPr>
              <a:t>Header</a:t>
            </a:r>
            <a:endParaRPr lang="en-ID" b="1" dirty="0">
              <a:solidFill>
                <a:schemeClr val="accent4"/>
              </a:solidFill>
            </a:endParaRPr>
          </a:p>
        </p:txBody>
      </p:sp>
      <p:sp>
        <p:nvSpPr>
          <p:cNvPr id="54" name="Isosceles Triangle 53">
            <a:extLst>
              <a:ext uri="{FF2B5EF4-FFF2-40B4-BE49-F238E27FC236}">
                <a16:creationId xmlns:a16="http://schemas.microsoft.com/office/drawing/2014/main" id="{31CB7FD3-E143-222C-85FA-BD89848DB31B}"/>
              </a:ext>
            </a:extLst>
          </p:cNvPr>
          <p:cNvSpPr/>
          <p:nvPr/>
        </p:nvSpPr>
        <p:spPr>
          <a:xfrm rot="5400000">
            <a:off x="822530" y="1787520"/>
            <a:ext cx="210685" cy="195187"/>
          </a:xfrm>
          <a:prstGeom prst="triangl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600">
              <a:solidFill>
                <a:schemeClr val="accent4"/>
              </a:solidFill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F457A71A-D482-1C6C-BAA7-C2F5AD508CFE}"/>
              </a:ext>
            </a:extLst>
          </p:cNvPr>
          <p:cNvSpPr txBox="1"/>
          <p:nvPr/>
        </p:nvSpPr>
        <p:spPr>
          <a:xfrm>
            <a:off x="2419656" y="3564947"/>
            <a:ext cx="2497447" cy="11546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600" dirty="0"/>
              <a:t>Insert text insert text</a:t>
            </a:r>
          </a:p>
          <a:p>
            <a:pPr>
              <a:lnSpc>
                <a:spcPct val="150000"/>
              </a:lnSpc>
            </a:pPr>
            <a:r>
              <a:rPr lang="en-US" sz="1600" dirty="0"/>
              <a:t>Insert text insert text</a:t>
            </a:r>
            <a:br>
              <a:rPr lang="en-US" sz="1600" dirty="0"/>
            </a:br>
            <a:endParaRPr lang="en-US" sz="1600" dirty="0"/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899F1512-1B22-1BB2-5E1E-2806F0112545}"/>
              </a:ext>
            </a:extLst>
          </p:cNvPr>
          <p:cNvSpPr txBox="1"/>
          <p:nvPr/>
        </p:nvSpPr>
        <p:spPr>
          <a:xfrm>
            <a:off x="2419656" y="3244190"/>
            <a:ext cx="208684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/>
              <a:t>Title</a:t>
            </a:r>
            <a:endParaRPr lang="en-ID" sz="1600" b="1" dirty="0"/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1E415ACD-9945-4727-6DBE-DBA11F127269}"/>
              </a:ext>
            </a:extLst>
          </p:cNvPr>
          <p:cNvSpPr txBox="1"/>
          <p:nvPr/>
        </p:nvSpPr>
        <p:spPr>
          <a:xfrm>
            <a:off x="2419656" y="5229732"/>
            <a:ext cx="2497447" cy="11546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600" dirty="0"/>
              <a:t>Insert text insert text</a:t>
            </a:r>
          </a:p>
          <a:p>
            <a:pPr>
              <a:lnSpc>
                <a:spcPct val="150000"/>
              </a:lnSpc>
            </a:pPr>
            <a:r>
              <a:rPr lang="en-US" sz="1600" dirty="0"/>
              <a:t>Insert text insert text</a:t>
            </a:r>
            <a:br>
              <a:rPr lang="en-US" sz="1600" dirty="0"/>
            </a:br>
            <a:endParaRPr lang="en-US" sz="1600" dirty="0"/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7B7F18E2-1EA4-A93A-CAEE-29A26D4E18D9}"/>
              </a:ext>
            </a:extLst>
          </p:cNvPr>
          <p:cNvSpPr txBox="1"/>
          <p:nvPr/>
        </p:nvSpPr>
        <p:spPr>
          <a:xfrm>
            <a:off x="2419656" y="4908975"/>
            <a:ext cx="208684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/>
              <a:t>Title</a:t>
            </a:r>
            <a:endParaRPr lang="en-ID" sz="1600" b="1" dirty="0"/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542DE992-7E54-D498-8AB2-0715CD398A01}"/>
              </a:ext>
            </a:extLst>
          </p:cNvPr>
          <p:cNvSpPr txBox="1"/>
          <p:nvPr/>
        </p:nvSpPr>
        <p:spPr>
          <a:xfrm>
            <a:off x="1218975" y="3244190"/>
            <a:ext cx="12466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accent4"/>
                </a:solidFill>
              </a:rPr>
              <a:t>Header</a:t>
            </a:r>
            <a:endParaRPr lang="en-ID" b="1" dirty="0">
              <a:solidFill>
                <a:schemeClr val="accent4"/>
              </a:solidFill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7B3E8B46-76C1-E739-5BEF-71C098221CED}"/>
              </a:ext>
            </a:extLst>
          </p:cNvPr>
          <p:cNvSpPr txBox="1"/>
          <p:nvPr/>
        </p:nvSpPr>
        <p:spPr>
          <a:xfrm>
            <a:off x="1218975" y="4908975"/>
            <a:ext cx="12466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accent4"/>
                </a:solidFill>
              </a:rPr>
              <a:t>Header</a:t>
            </a:r>
            <a:endParaRPr lang="en-ID" b="1" dirty="0">
              <a:solidFill>
                <a:schemeClr val="accent4"/>
              </a:solidFill>
            </a:endParaRPr>
          </a:p>
        </p:txBody>
      </p:sp>
      <p:sp>
        <p:nvSpPr>
          <p:cNvPr id="56" name="Isosceles Triangle 55">
            <a:extLst>
              <a:ext uri="{FF2B5EF4-FFF2-40B4-BE49-F238E27FC236}">
                <a16:creationId xmlns:a16="http://schemas.microsoft.com/office/drawing/2014/main" id="{13C01DA3-86C8-C5A4-02A0-F4B7E93A3F65}"/>
              </a:ext>
            </a:extLst>
          </p:cNvPr>
          <p:cNvSpPr/>
          <p:nvPr/>
        </p:nvSpPr>
        <p:spPr>
          <a:xfrm rot="5400000">
            <a:off x="822530" y="3324436"/>
            <a:ext cx="210685" cy="195187"/>
          </a:xfrm>
          <a:prstGeom prst="triangl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600">
              <a:solidFill>
                <a:schemeClr val="accent4"/>
              </a:solidFill>
            </a:endParaRPr>
          </a:p>
        </p:txBody>
      </p:sp>
      <p:sp>
        <p:nvSpPr>
          <p:cNvPr id="57" name="Isosceles Triangle 56">
            <a:extLst>
              <a:ext uri="{FF2B5EF4-FFF2-40B4-BE49-F238E27FC236}">
                <a16:creationId xmlns:a16="http://schemas.microsoft.com/office/drawing/2014/main" id="{56C6AEBE-4208-8857-89A8-95B1873E580E}"/>
              </a:ext>
            </a:extLst>
          </p:cNvPr>
          <p:cNvSpPr/>
          <p:nvPr/>
        </p:nvSpPr>
        <p:spPr>
          <a:xfrm rot="5400000">
            <a:off x="822530" y="4999459"/>
            <a:ext cx="210685" cy="195187"/>
          </a:xfrm>
          <a:prstGeom prst="triangl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60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59021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accel="60000" fill="hold" grpId="0" nodeType="withEffect" p14:presetBounceEnd="6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60000">
                                          <p:cBhvr additive="base">
                                            <p:cTn id="7" dur="1000" fill="hold"/>
                                            <p:tgtEl>
                                              <p:spTgt spid="4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60000">
                                          <p:cBhvr additive="base">
                                            <p:cTn id="8" dur="1000" fill="hold"/>
                                            <p:tgtEl>
                                              <p:spTgt spid="4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Graphic spid="40" grpId="0">
            <p:bldAsOne/>
          </p:bldGraphic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accel="6000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1000" fill="hold"/>
                                            <p:tgtEl>
                                              <p:spTgt spid="4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1000" fill="hold"/>
                                            <p:tgtEl>
                                              <p:spTgt spid="4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Graphic spid="40" grpId="0">
            <p:bldAsOne/>
          </p:bldGraphic>
        </p:bldLst>
      </p:timing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8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06352"/>
      </a:accent1>
      <a:accent2>
        <a:srgbClr val="97D0B1"/>
      </a:accent2>
      <a:accent3>
        <a:srgbClr val="C8C2E0"/>
      </a:accent3>
      <a:accent4>
        <a:srgbClr val="F05C4F"/>
      </a:accent4>
      <a:accent5>
        <a:srgbClr val="292866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6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966</TotalTime>
  <Words>36</Words>
  <Application>Microsoft Office PowerPoint</Application>
  <PresentationFormat>Widescreen</PresentationFormat>
  <Paragraphs>1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Stacked Colum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ining Template</dc:title>
  <dc:subject/>
  <dc:creator>Analyst Academy LLC</dc:creator>
  <cp:keywords/>
  <dc:description/>
  <cp:lastModifiedBy>Diam Cabatay</cp:lastModifiedBy>
  <cp:revision>583</cp:revision>
  <dcterms:created xsi:type="dcterms:W3CDTF">2021-03-31T02:49:57Z</dcterms:created>
  <dcterms:modified xsi:type="dcterms:W3CDTF">2025-10-16T11:31:10Z</dcterms:modified>
  <cp:category/>
</cp:coreProperties>
</file>